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1" r:id="rId1"/>
  </p:sldMasterIdLst>
  <p:notesMasterIdLst>
    <p:notesMasterId r:id="rId8"/>
  </p:notesMasterIdLst>
  <p:handoutMasterIdLst>
    <p:handoutMasterId r:id="rId9"/>
  </p:handoutMasterIdLst>
  <p:sldIdLst>
    <p:sldId id="449" r:id="rId2"/>
    <p:sldId id="444" r:id="rId3"/>
    <p:sldId id="445" r:id="rId4"/>
    <p:sldId id="446" r:id="rId5"/>
    <p:sldId id="447" r:id="rId6"/>
    <p:sldId id="448" r:id="rId7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49"/>
            <p14:sldId id="444"/>
            <p14:sldId id="445"/>
            <p14:sldId id="446"/>
            <p14:sldId id="447"/>
            <p14:sldId id="44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115" d="100"/>
          <a:sy n="115" d="100"/>
        </p:scale>
        <p:origin x="-1524" y="-90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859317-F8E0-4391-80D7-7DC94CFB279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5705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819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921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024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126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B5CD360-F8DA-4D94-B028-714C527B1DFF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3954DCC-5C9B-4CB1-8EED-22E8DF649B99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908E59E-9F39-43B0-A7F5-698F73E158CD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37F82CD-31C8-4445-A51E-8A4C9684E800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873F173-4728-4BEE-8D9C-6C8C1E6AEB0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1989F6B-BF25-4CE3-94E4-4B432D5B4C6F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V.A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84225E1-F624-4EBA-9C0D-6076947DC5A8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8A71EDE-CD59-4A79-A0FE-9D1C5A0077F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D7EDC2C-0A5D-441A-A259-D0A227F459E7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C05E2E2-AE4D-4419-B879-91BD3D90315D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D1744C7-9A74-4426-A3AB-1D0597E11B4C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F12D4CF-F679-4863-9E46-D057547F1D39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73968EA-39DD-40AD-BD30-15DF6E1A6F4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424FF8E-FA7C-4456-B66B-729B157A0594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2154520"/>
              </p:ext>
            </p:extLst>
          </p:nvPr>
        </p:nvGraphicFramePr>
        <p:xfrm>
          <a:off x="269448" y="1760896"/>
          <a:ext cx="8623727" cy="281472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r>
                        <a:rPr kumimoji="0" 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. Motivation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II. UML Refresh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b="0" dirty="0" smtClean="0"/>
                        <a:t>III. Modellierung &amp; Produktdefinition mit Faktor-IPS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542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V. Customizing &amp; Tools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387294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</a:t>
            </a:r>
            <a:r>
              <a:rPr lang="de-DE" dirty="0"/>
              <a:t>Customizing &amp; Tools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723DD26-805A-4516-90AE-7057EBEF3413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3400942"/>
              </p:ext>
            </p:extLst>
          </p:nvPr>
        </p:nvGraphicFramePr>
        <p:xfrm>
          <a:off x="1655676" y="6993396"/>
          <a:ext cx="8623727" cy="488928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III.A Projekt einrichten, erste Klasse anle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990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dirty="0" smtClean="0"/>
                        <a:t>III.B Modellierung der Vertrags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88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III.D Verwendung von Tabell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00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II.E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Verwendung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von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Aufzählungen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6752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III.F Verwendung von Formel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III.G Customizing der Produktdefinitionsperspektiv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III.H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5384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III.I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dirty="0" smtClean="0"/>
                        <a:t>Plausibilisier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359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II.J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uchoptionen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&amp; Views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0"/>
                      </a:schemeClr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II.K Derived Union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eziehungen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072545"/>
              </p:ext>
            </p:extLst>
          </p:nvPr>
        </p:nvGraphicFramePr>
        <p:xfrm>
          <a:off x="267793" y="1232756"/>
          <a:ext cx="6068403" cy="544996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V.A Customizing der </a:t>
                      </a:r>
                      <a:br>
                        <a:rPr lang="de-DE" sz="2400" b="1" dirty="0" smtClean="0"/>
                      </a:br>
                      <a:r>
                        <a:rPr lang="de-DE" sz="2400" b="1" dirty="0" smtClean="0"/>
                        <a:t>        Produktdefinitionsperspektive</a:t>
                      </a:r>
                      <a:endParaRPr lang="de-DE" sz="24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4550727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9C56FFC-6526-4CBE-8D15-38214268D147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Customizing der Produktdefinitionsperspektive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0" y="1376363"/>
            <a:ext cx="7280275" cy="4246562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Kategori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it Kategorien können </a:t>
            </a:r>
            <a:r>
              <a:rPr lang="de-DE" i="1" dirty="0"/>
              <a:t>Attribute, Wertebereiche, Berechnungsvorschriften, </a:t>
            </a:r>
            <a:r>
              <a:rPr lang="de-DE" i="1" dirty="0" smtClean="0"/>
              <a:t>Tabellenreferenzen, </a:t>
            </a:r>
            <a:r>
              <a:rPr lang="de-DE" i="1" dirty="0"/>
              <a:t>Regeln</a:t>
            </a:r>
            <a:r>
              <a:rPr lang="de-DE" dirty="0"/>
              <a:t>, die einen fachlichen Zusammenhang haben, auf dem Produktbausteineditor in einer Sektion mit einer Überschrift dargestellt werden. 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Kategorien gibt es pro Produktbaustein-Typ. Sie können im Produktbaustein-Typ Editor unter dem Reiter „Kategorien“ bearbeitet werden.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con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ür jeden Produktbaustein-Typ kann ein spezielles Icon im Produktbaustein-Typ Editor angegeben werden. Das Icon erscheint in allen Ansichten in der der Produktbaustein-Typ dargestellt wird.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A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07048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AEE8B17-9D90-45EC-BDA8-01D99DDA26F0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Customizing der Produktdefinitionsperspektive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0" y="1412875"/>
            <a:ext cx="7280275" cy="4246563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Label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ür viele Modellelemente z.B. Attribute, Assoziationen, Modelltypen, … können Labels hinterlegt werden. Labels werden anstatt </a:t>
            </a:r>
            <a:r>
              <a:rPr lang="de-DE"/>
              <a:t>der </a:t>
            </a:r>
            <a:r>
              <a:rPr lang="de-DE" smtClean="0"/>
              <a:t>Modellnamen </a:t>
            </a:r>
            <a:r>
              <a:rPr lang="de-DE" dirty="0"/>
              <a:t>in den Ansichten und Editoren der Produktdefinitionsperspektive angezeigt.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Labels haben 2 Aufgaben</a:t>
            </a:r>
          </a:p>
          <a:p>
            <a:pPr marL="1107120" lvl="2" indent="-285750">
              <a:buSzPct val="70000"/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chlich ansprechende Beschreibung z.B. anstatt „</a:t>
            </a:r>
            <a:r>
              <a:rPr lang="de-DE" dirty="0" err="1"/>
              <a:t>versSumme</a:t>
            </a:r>
            <a:r>
              <a:rPr lang="de-DE" dirty="0"/>
              <a:t>“ wird „Versicherungssumme“ angezeigt</a:t>
            </a:r>
          </a:p>
          <a:p>
            <a:pPr marL="1107120" lvl="2" indent="-285750">
              <a:buSzPct val="70000"/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Unterstützung von Internationalisierung. Labels können in beliebigen Sprachen angelegt werden und entsprechend der Landeseinstellung wird der Label in den Ansichten und Editoren angezeigt.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A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892272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E6A6AC4-8DCF-495A-A819-FE2C0E3D1A4C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 zu Customizing der Produktdefinitionsperspektive</a:t>
            </a: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0" y="1412875"/>
            <a:ext cx="7280275" cy="4244975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Kategori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nlegen der Kategorien </a:t>
            </a:r>
            <a:r>
              <a:rPr lang="de-DE" dirty="0" err="1"/>
              <a:t>Beitragsberechung</a:t>
            </a:r>
            <a:r>
              <a:rPr lang="de-DE" dirty="0"/>
              <a:t> in den </a:t>
            </a:r>
            <a:r>
              <a:rPr lang="de-DE" dirty="0" err="1"/>
              <a:t>Deckungenstypen</a:t>
            </a:r>
            <a:endParaRPr lang="de-DE" dirty="0"/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Verschieben der Tabellen und Formeln in diese Kategorie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con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nlegen von Icons für die Produktbaustein-Typen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Label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nlegen von Labels für Versicherungssumme, Maximale Versicherungssumme und den Versicherungssummenfakto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A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31689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661C118-6B3D-442D-AA25-910E52844180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Übungen zu </a:t>
            </a:r>
            <a:r>
              <a:rPr lang="de-DE" dirty="0" smtClean="0"/>
              <a:t>Kapitel IV.A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A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486266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8</Words>
  <Application>Microsoft Office PowerPoint</Application>
  <PresentationFormat>Bildschirmpräsentation (4:3)</PresentationFormat>
  <Paragraphs>50</Paragraphs>
  <Slides>6</Slides>
  <Notes>5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7" baseType="lpstr">
      <vt:lpstr>Master - ConVista General </vt:lpstr>
      <vt:lpstr>Agenda</vt:lpstr>
      <vt:lpstr>Inhalt - Customizing &amp; Tools</vt:lpstr>
      <vt:lpstr>Customizing der Produktdefinitionsperspektive</vt:lpstr>
      <vt:lpstr>Customizing der Produktdefinitionsperspektive</vt:lpstr>
      <vt:lpstr>Demo zu Customizing der Produktdefinitionsperspektive</vt:lpstr>
      <vt:lpstr>Übungen zu Kapitel IV.A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icker</cp:lastModifiedBy>
  <cp:revision>1630</cp:revision>
  <cp:lastPrinted>2012-11-19T11:42:38Z</cp:lastPrinted>
  <dcterms:created xsi:type="dcterms:W3CDTF">2005-03-22T09:36:15Z</dcterms:created>
  <dcterms:modified xsi:type="dcterms:W3CDTF">2013-05-17T13:09:23Z</dcterms:modified>
  <cp:category>Master</cp:category>
  <cp:contentStatus>RELEASED</cp:contentStatus>
</cp:coreProperties>
</file>